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05" r:id="rId2"/>
    <p:sldId id="395" r:id="rId3"/>
    <p:sldId id="371" r:id="rId4"/>
    <p:sldId id="370" r:id="rId5"/>
    <p:sldId id="367" r:id="rId6"/>
    <p:sldId id="390" r:id="rId7"/>
    <p:sldId id="379" r:id="rId8"/>
    <p:sldId id="394" r:id="rId9"/>
    <p:sldId id="382" r:id="rId10"/>
    <p:sldId id="384" r:id="rId11"/>
    <p:sldId id="321" r:id="rId12"/>
    <p:sldId id="387" r:id="rId13"/>
  </p:sldIdLst>
  <p:sldSz cx="9144000" cy="5143500" type="screen16x9"/>
  <p:notesSz cx="7099300" cy="10236200"/>
  <p:embeddedFontLst>
    <p:embeddedFont>
      <p:font typeface="VWAG TheSans" panose="020B0502050302020203" pitchFamily="34" charset="0"/>
      <p:regular r:id="rId16"/>
      <p:bold r:id="rId17"/>
      <p:italic r:id="rId18"/>
    </p:embeddedFont>
  </p:embeddedFontLst>
  <p:custDataLst>
    <p:tags r:id="rId1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5000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338070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72732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117215" algn="l" defTabSz="779145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6779C033-6073-44E6-899B-39F134BEEF99}">
          <p14:sldIdLst>
            <p14:sldId id="305"/>
            <p14:sldId id="395"/>
          </p14:sldIdLst>
        </p14:section>
        <p14:section name="Traffic analysis" id="{111FD36C-2EDD-4270-9893-80ABD0DFD465}">
          <p14:sldIdLst>
            <p14:sldId id="371"/>
            <p14:sldId id="370"/>
            <p14:sldId id="367"/>
          </p14:sldIdLst>
        </p14:section>
        <p14:section name="Funnel analysis" id="{78A44214-4A94-405B-B8CB-52C16BFE4309}">
          <p14:sldIdLst>
            <p14:sldId id="390"/>
          </p14:sldIdLst>
        </p14:section>
        <p14:section name="Order analysis" id="{75714706-3A22-4DFA-9A1D-57FF8478A8FF}">
          <p14:sldIdLst>
            <p14:sldId id="379"/>
            <p14:sldId id="394"/>
            <p14:sldId id="382"/>
            <p14:sldId id="384"/>
          </p14:sldIdLst>
        </p14:section>
        <p14:section name="Rating analysis" id="{43CE4964-E0C0-4C92-BF73-66A2BDAAC74F}">
          <p14:sldIdLst>
            <p14:sldId id="321"/>
            <p14:sldId id="3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41" userDrawn="1">
          <p15:clr>
            <a:srgbClr val="A4A3A4"/>
          </p15:clr>
        </p15:guide>
        <p15:guide id="2" orient="horz" pos="3003">
          <p15:clr>
            <a:srgbClr val="A4A3A4"/>
          </p15:clr>
        </p15:guide>
        <p15:guide id="3" orient="horz" pos="3162" userDrawn="1">
          <p15:clr>
            <a:srgbClr val="A4A3A4"/>
          </p15:clr>
        </p15:guide>
        <p15:guide id="4" orient="horz" pos="2618" userDrawn="1">
          <p15:clr>
            <a:srgbClr val="A4A3A4"/>
          </p15:clr>
        </p15:guide>
        <p15:guide id="5" orient="horz" pos="350" userDrawn="1">
          <p15:clr>
            <a:srgbClr val="A4A3A4"/>
          </p15:clr>
        </p15:guide>
        <p15:guide id="6" orient="horz" pos="985" userDrawn="1">
          <p15:clr>
            <a:srgbClr val="A4A3A4"/>
          </p15:clr>
        </p15:guide>
        <p15:guide id="7" pos="227">
          <p15:clr>
            <a:srgbClr val="A4A3A4"/>
          </p15:clr>
        </p15:guide>
        <p15:guide id="8" pos="2926">
          <p15:clr>
            <a:srgbClr val="A4A3A4"/>
          </p15:clr>
        </p15:guide>
        <p15:guide id="9" pos="2835">
          <p15:clr>
            <a:srgbClr val="A4A3A4"/>
          </p15:clr>
        </p15:guide>
        <p15:guide id="10" pos="51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6B6B"/>
    <a:srgbClr val="595959"/>
    <a:srgbClr val="004666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42" autoAdjust="0"/>
    <p:restoredTop sz="93424" autoAdjust="0"/>
  </p:normalViewPr>
  <p:slideViewPr>
    <p:cSldViewPr showGuides="1">
      <p:cViewPr varScale="1">
        <p:scale>
          <a:sx n="101" d="100"/>
          <a:sy n="101" d="100"/>
        </p:scale>
        <p:origin x="520" y="68"/>
      </p:cViewPr>
      <p:guideLst>
        <p:guide orient="horz" pos="441"/>
        <p:guide orient="horz" pos="3003"/>
        <p:guide orient="horz" pos="3162"/>
        <p:guide orient="horz" pos="2618"/>
        <p:guide orient="horz" pos="350"/>
        <p:guide orient="horz" pos="985"/>
        <p:guide pos="227"/>
        <p:guide pos="2926"/>
        <p:guide pos="2835"/>
        <p:guide pos="51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baseline="0" dirty="0" smtClean="0">
                <a:solidFill>
                  <a:schemeClr val="accent1"/>
                </a:solidFill>
                <a:effectLst/>
              </a:rPr>
              <a:t>PV/UV</a:t>
            </a:r>
            <a:endParaRPr lang="zh-CN" altLang="en-US" b="0" dirty="0">
              <a:solidFill>
                <a:schemeClr val="accent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</c:f>
              <c:strCache>
                <c:ptCount val="1"/>
                <c:pt idx="0">
                  <c:v>Nov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D1-4823-A9B2-2FB26D469C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Nov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37-47FF-9640-63CD0C441E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3093504"/>
        <c:axId val="53095808"/>
      </c:barChart>
      <c:catAx>
        <c:axId val="53093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0925898994993049"/>
              <c:y val="0.671350752694145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95808"/>
        <c:crosses val="autoZero"/>
        <c:auto val="1"/>
        <c:lblAlgn val="ctr"/>
        <c:lblOffset val="100"/>
        <c:noMultiLvlLbl val="0"/>
      </c:catAx>
      <c:valAx>
        <c:axId val="53095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0714604070725"/>
          <c:y val="0.79550470240722493"/>
          <c:w val="0.11029124944287626"/>
          <c:h val="8.4071339189663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r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PV/U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r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21-4601-B024-C0819927D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4-4F7D-BD0A-58CD92F602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V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21-4601-B024-C0819927D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CW45</c:v>
                </c:pt>
                <c:pt idx="1">
                  <c:v>CW46</c:v>
                </c:pt>
                <c:pt idx="2">
                  <c:v>CW47</c:v>
                </c:pt>
                <c:pt idx="3">
                  <c:v>CW48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A8-4395-BA67-2266CE1AD07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517952"/>
        <c:axId val="57532800"/>
      </c:barChart>
      <c:catAx>
        <c:axId val="575179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414469671084787"/>
              <c:y val="0.678141617898311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32800"/>
        <c:crosses val="autoZero"/>
        <c:auto val="1"/>
        <c:lblAlgn val="ctr"/>
        <c:lblOffset val="100"/>
        <c:noMultiLvlLbl val="0"/>
      </c:catAx>
      <c:valAx>
        <c:axId val="5753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1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576670919067744"/>
          <c:y val="0.78103650646491873"/>
          <c:w val="0.13630302252495569"/>
          <c:h val="8.51659486177765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Usage frequency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age Frequenc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1~5</c:v>
                </c:pt>
                <c:pt idx="1">
                  <c:v>6~10</c:v>
                </c:pt>
                <c:pt idx="2">
                  <c:v>&gt;1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72-47CE-BAF1-2F22E4D512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7764864"/>
        <c:axId val="57865728"/>
      </c:barChart>
      <c:catAx>
        <c:axId val="57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865728"/>
        <c:crosses val="autoZero"/>
        <c:auto val="1"/>
        <c:lblAlgn val="ctr"/>
        <c:lblOffset val="100"/>
        <c:noMultiLvlLbl val="0"/>
      </c:catAx>
      <c:valAx>
        <c:axId val="578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64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Orders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d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1-4C72-8FDB-D355D1A65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15744"/>
        <c:axId val="58442496"/>
      </c:barChart>
      <c:catAx>
        <c:axId val="58415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CPO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5286156588916948"/>
              <c:y val="0.704001673762006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42496"/>
        <c:crosses val="autoZero"/>
        <c:auto val="1"/>
        <c:lblAlgn val="ctr"/>
        <c:lblOffset val="100"/>
        <c:noMultiLvlLbl val="1"/>
      </c:catAx>
      <c:valAx>
        <c:axId val="5844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415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447398603476464"/>
          <c:y val="0.7955046398567025"/>
          <c:w val="8.6146367553112488E-2"/>
          <c:h val="8.4071364905199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6B6B6B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Nov</a:t>
            </a:r>
            <a:endParaRPr lang="en-US" altLang="zh-C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 Charge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9</c:v>
                </c:pt>
                <c:pt idx="1">
                  <c:v>CW50</c:v>
                </c:pt>
                <c:pt idx="2">
                  <c:v>CW51</c:v>
                </c:pt>
                <c:pt idx="3">
                  <c:v>CW52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80-45FF-B5D5-CD6881A01D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GOOD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W49</c:v>
                </c:pt>
                <c:pt idx="1">
                  <c:v>CW50</c:v>
                </c:pt>
                <c:pt idx="2">
                  <c:v>CW51</c:v>
                </c:pt>
                <c:pt idx="3">
                  <c:v>CW52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</c:v>
                </c:pt>
                <c:pt idx="1">
                  <c:v>2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80-45FF-B5D5-CD6881A01D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8793344"/>
        <c:axId val="59259136"/>
      </c:barChart>
      <c:catAx>
        <c:axId val="58793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Week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2304934086402823"/>
              <c:y val="0.69062986057104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259136"/>
        <c:crosses val="autoZero"/>
        <c:auto val="1"/>
        <c:lblAlgn val="ctr"/>
        <c:lblOffset val="100"/>
        <c:noMultiLvlLbl val="0"/>
      </c:catAx>
      <c:valAx>
        <c:axId val="5925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Amount</a:t>
                </a:r>
                <a:endParaRPr lang="zh-CN" altLang="en-US" sz="10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9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00911810599629"/>
          <c:y val="0.81392316362996708"/>
          <c:w val="0.26680381359028182"/>
          <c:h val="7.95203889382661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tx1"/>
      </a:solidFill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charging fe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(RMB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.9500000000000001E-2</c:v>
                </c:pt>
                <c:pt idx="1">
                  <c:v>13.3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41-4298-81FF-8179B0D1EFA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8688640"/>
        <c:axId val="59778560"/>
      </c:barChart>
      <c:catAx>
        <c:axId val="586886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PO</a:t>
                </a:r>
              </a:p>
            </c:rich>
          </c:tx>
          <c:layout>
            <c:manualLayout>
              <c:xMode val="edge"/>
              <c:yMode val="edge"/>
              <c:x val="0.94049561729312137"/>
              <c:y val="0.701655750931396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778560"/>
        <c:crosses val="autoZero"/>
        <c:auto val="1"/>
        <c:lblAlgn val="ctr"/>
        <c:lblOffset val="100"/>
        <c:noMultiLvlLbl val="0"/>
      </c:catAx>
      <c:valAx>
        <c:axId val="5977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mount</a:t>
                </a:r>
                <a:endParaRPr lang="zh-CN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8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verage charging </a:t>
            </a:r>
            <a:r>
              <a:rPr lang="en-US" altLang="zh-CN" dirty="0" smtClean="0"/>
              <a:t>amount (KWH)</a:t>
            </a:r>
            <a:endParaRPr lang="en-US" altLang="zh-C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rging amou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Star Charge</c:v>
                </c:pt>
                <c:pt idx="1">
                  <c:v>Tgoo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1400000000000001E-2</c:v>
                </c:pt>
                <c:pt idx="1">
                  <c:v>8.3092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2D-4C25-A284-EAE04C1313D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8091008"/>
        <c:axId val="98093312"/>
      </c:barChart>
      <c:catAx>
        <c:axId val="9809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 smtClean="0"/>
                  <a:t>Month</a:t>
                </a:r>
                <a:endParaRPr lang="zh-CN" altLang="en-US" sz="1000" dirty="0"/>
              </a:p>
            </c:rich>
          </c:tx>
          <c:layout>
            <c:manualLayout>
              <c:xMode val="edge"/>
              <c:yMode val="edge"/>
              <c:x val="0.91030693804783847"/>
              <c:y val="0.700518225602970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93312"/>
        <c:crosses val="autoZero"/>
        <c:auto val="1"/>
        <c:lblAlgn val="ctr"/>
        <c:lblOffset val="100"/>
        <c:noMultiLvlLbl val="0"/>
      </c:catAx>
      <c:valAx>
        <c:axId val="980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000" dirty="0"/>
                  <a:t>K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94596345268162"/>
          <c:y val="0.80583877967802864"/>
          <c:w val="0.21202412717278266"/>
          <c:h val="7.9822832130219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station rating</a:t>
            </a:r>
            <a:endParaRPr lang="zh-CN" alt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Sta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6D-4CFD-B0DC-52641A650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0668160"/>
        <c:axId val="60692352"/>
      </c:barChart>
      <c:catAx>
        <c:axId val="60668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2805092832760139"/>
              <c:y val="0.773536648643029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92352"/>
        <c:crosses val="autoZero"/>
        <c:auto val="1"/>
        <c:lblAlgn val="ctr"/>
        <c:lblOffset val="100"/>
        <c:noMultiLvlLbl val="0"/>
      </c:catAx>
      <c:valAx>
        <c:axId val="606923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68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79989880940937"/>
          <c:y val="0.8201614211320748"/>
          <c:w val="0.32216048315304757"/>
          <c:h val="8.1201956840652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 smtClean="0"/>
              <a:t>Charging</a:t>
            </a:r>
            <a:r>
              <a:rPr lang="en-US" altLang="zh-CN" baseline="0" dirty="0" smtClean="0"/>
              <a:t> Pile Rating</a:t>
            </a:r>
            <a:endParaRPr lang="zh-CN" alt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123888024285745E-2"/>
          <c:y val="0.13366363081578431"/>
          <c:w val="0.8952946375391474"/>
          <c:h val="0.593444686874262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Charging Pi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☆</c:v>
                </c:pt>
                <c:pt idx="1">
                  <c:v>☆☆</c:v>
                </c:pt>
                <c:pt idx="2">
                  <c:v>☆☆☆</c:v>
                </c:pt>
                <c:pt idx="3">
                  <c:v>☆☆☆☆</c:v>
                </c:pt>
                <c:pt idx="4">
                  <c:v>☆☆☆☆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2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C-4FF7-9DAA-B9B2748A1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2319616"/>
        <c:axId val="122321152"/>
      </c:barChart>
      <c:catAx>
        <c:axId val="122319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Star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93816486380899322"/>
              <c:y val="0.800308215236566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21152"/>
        <c:crosses val="autoZero"/>
        <c:auto val="1"/>
        <c:lblAlgn val="ctr"/>
        <c:lblOffset val="100"/>
        <c:noMultiLvlLbl val="0"/>
      </c:catAx>
      <c:valAx>
        <c:axId val="122321152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Amount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562805413056153"/>
          <c:y val="0.83559360892993817"/>
          <c:w val="0.28549042211846987"/>
          <c:h val="8.48536400739798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554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84" y="0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t" anchorCtr="0" compatLnSpc="1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091"/>
            <a:ext cx="3076917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84" y="9723091"/>
            <a:ext cx="3076916" cy="513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55" tIns="47127" rIns="94255" bIns="47127" numCol="1" anchor="b" anchorCtr="0" compatLnSpc="1"/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16560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898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7914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6903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5829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4818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8070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2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215" algn="l" defTabSz="77914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6CA4E7E2-0BFB-4C1F-B401-EE29BDBF7FCA}" type="slidenum">
              <a:rPr lang="de-DE"/>
              <a:pPr/>
              <a:t>1</a:t>
            </a:fld>
            <a:endParaRPr lang="de-DE"/>
          </a:p>
        </p:txBody>
      </p:sp>
      <p:sp>
        <p:nvSpPr>
          <p:cNvPr id="215042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8113" y="766763"/>
            <a:ext cx="6826250" cy="384016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5468" y="4861546"/>
            <a:ext cx="5208365" cy="4608239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  <p:txBody>
          <a:bodyPr lIns="94255" tIns="47127" rIns="94255" bIns="47127"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66346" y="1272779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75138" y="3203973"/>
            <a:ext cx="8413200" cy="812006"/>
          </a:xfrm>
        </p:spPr>
        <p:txBody>
          <a:bodyPr/>
          <a:lstStyle>
            <a:lvl1pPr>
              <a:lnSpc>
                <a:spcPts val="3400"/>
              </a:lnSpc>
              <a:defRPr sz="2400" b="1" i="0">
                <a:latin typeface="+mj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38" y="4013597"/>
            <a:ext cx="8413200" cy="617934"/>
          </a:xfrm>
        </p:spPr>
        <p:txBody>
          <a:bodyPr/>
          <a:lstStyle>
            <a:lvl1pPr>
              <a:lnSpc>
                <a:spcPts val="3400"/>
              </a:lnSpc>
              <a:defRPr sz="2000" b="0" i="0">
                <a:solidFill>
                  <a:schemeClr val="tx2"/>
                </a:solidFill>
                <a:latin typeface="+mn-lt"/>
                <a:ea typeface="Heiti SC Medium"/>
                <a:cs typeface="Heiti SC Medium"/>
              </a:defRPr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200" y="1318022"/>
            <a:ext cx="4132800" cy="344209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1951" y="1318022"/>
            <a:ext cx="4129454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33546" y="1318022"/>
            <a:ext cx="4132385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1" y="673894"/>
            <a:ext cx="8413200" cy="513160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61950" y="1318022"/>
            <a:ext cx="4130919" cy="3442097"/>
          </a:xfrm>
        </p:spPr>
        <p:txBody>
          <a:bodyPr/>
          <a:lstStyle>
            <a:lvl1pPr>
              <a:defRPr>
                <a:latin typeface="VWAG TheSans" panose="020B0502050302020203" pitchFamily="34" charset="0"/>
              </a:defRPr>
            </a:lvl1pPr>
            <a:lvl2pPr>
              <a:defRPr>
                <a:latin typeface="VWAG TheSans" panose="020B0502050302020203" pitchFamily="34" charset="0"/>
              </a:defRPr>
            </a:lvl2pPr>
            <a:lvl3pPr>
              <a:defRPr>
                <a:latin typeface="VWAG TheSans" panose="020B0502050302020203" pitchFamily="34" charset="0"/>
              </a:defRPr>
            </a:lvl3pPr>
            <a:lvl4pPr>
              <a:defRPr>
                <a:latin typeface="VWAG TheSans" panose="020B0502050302020203" pitchFamily="34" charset="0"/>
              </a:defRPr>
            </a:lvl4pPr>
            <a:lvl5pPr>
              <a:defRPr>
                <a:latin typeface="VWAG TheSans" panose="020B0502050302020203" pitchFamily="34" charset="0"/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4754" y="1318022"/>
            <a:ext cx="4141177" cy="3442097"/>
          </a:xfrm>
        </p:spPr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088923" y="4911329"/>
            <a:ext cx="677008" cy="134540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70316_MOBILITY_ASIA_logo_dan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063" y="311636"/>
            <a:ext cx="2700000" cy="8653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70316_MOBILITY_ASIA_logo_dan-01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475" y="145515"/>
            <a:ext cx="1188000" cy="380759"/>
          </a:xfrm>
          <a:prstGeom prst="rect">
            <a:avLst/>
          </a:prstGeom>
        </p:spPr>
      </p:pic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400" y="1318022"/>
            <a:ext cx="8413200" cy="3442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二级</a:t>
            </a:r>
          </a:p>
          <a:p>
            <a:pPr lvl="2"/>
            <a:r>
              <a:rPr lang="zh-CN" altLang="en-US" noProof="0"/>
              <a:t>三级</a:t>
            </a:r>
          </a:p>
          <a:p>
            <a:pPr lvl="3"/>
            <a:r>
              <a:rPr lang="zh-CN" altLang="en-US" noProof="0"/>
              <a:t>四级</a:t>
            </a:r>
          </a:p>
          <a:p>
            <a:pPr lvl="4"/>
            <a:r>
              <a:rPr lang="zh-CN" altLang="en-US" noProof="0"/>
              <a:t>五级</a:t>
            </a:r>
            <a:endParaRPr lang="en-GB" noProof="0" dirty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8923" y="4911329"/>
            <a:ext cx="677008" cy="134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r" defTabSz="817245">
              <a:spcBef>
                <a:spcPct val="0"/>
              </a:spcBef>
              <a:defRPr sz="800">
                <a:latin typeface="+mn-lt"/>
              </a:defRPr>
            </a:lvl1pPr>
          </a:lstStyle>
          <a:p>
            <a:fld id="{04ABC90F-D60A-4D10-BF9C-C7AC7A2BE08A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65400" y="673894"/>
            <a:ext cx="8413200" cy="513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65400" y="571500"/>
            <a:ext cx="8413200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925" tIns="38963" rIns="77925" bIns="38963" anchor="ctr"/>
          <a:lstStyle/>
          <a:p>
            <a:endParaRPr lang="en-GB" noProof="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817245" rtl="0" eaLnBrk="1" fontAlgn="base" hangingPunct="1">
        <a:spcBef>
          <a:spcPct val="0"/>
        </a:spcBef>
        <a:spcAft>
          <a:spcPct val="0"/>
        </a:spcAft>
        <a:defRPr sz="2000" b="1" i="0" kern="1200" baseline="0">
          <a:solidFill>
            <a:schemeClr val="tx2"/>
          </a:solidFill>
          <a:latin typeface="+mj-lt"/>
          <a:ea typeface="Heiti SC Medium"/>
          <a:cs typeface="Heiti SC Medium"/>
        </a:defRPr>
      </a:lvl1pPr>
      <a:lvl2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2pPr>
      <a:lvl3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3pPr>
      <a:lvl4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4pPr>
      <a:lvl5pPr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5pPr>
      <a:lvl6pPr marL="3898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6pPr>
      <a:lvl7pPr marL="77914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7pPr>
      <a:lvl8pPr marL="1169035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8pPr>
      <a:lvl9pPr marL="1558290" algn="l" defTabSz="81724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1pPr>
      <a:lvl2pPr marL="1625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2pPr>
      <a:lvl3pPr marL="32448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3pPr>
      <a:lvl4pPr marL="48704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4pPr>
      <a:lvl5pPr marL="6496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 sz="1600" b="0" i="0" kern="1200" baseline="0">
          <a:solidFill>
            <a:schemeClr val="tx1"/>
          </a:solidFill>
          <a:latin typeface="+mn-lt"/>
          <a:ea typeface="Heiti SC Light"/>
          <a:cs typeface="Heiti SC Light"/>
        </a:defRPr>
      </a:lvl5pPr>
      <a:lvl6pPr marL="103886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428750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181800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207895" indent="-161290" algn="l" defTabSz="817245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8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4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03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29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8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8070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2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215" algn="l" defTabSz="77914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chart" Target="../charts/chart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chart" Target="../charts/char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9" name="Rectangle 3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altLang="zh-CN" dirty="0" smtClean="0"/>
              <a:t>The Monthly</a:t>
            </a:r>
            <a:r>
              <a:rPr lang="zh-CN" altLang="en-US" dirty="0" smtClean="0"/>
              <a:t> </a:t>
            </a:r>
            <a:r>
              <a:rPr lang="en-US" altLang="zh-CN" dirty="0" smtClean="0"/>
              <a:t>Report of FBU </a:t>
            </a:r>
            <a:r>
              <a:rPr lang="en-US" altLang="zh-CN" smtClean="0"/>
              <a:t>Charging SOP2</a:t>
            </a:r>
            <a:endParaRPr lang="en-GB" dirty="0"/>
          </a:p>
        </p:txBody>
      </p:sp>
      <p:sp>
        <p:nvSpPr>
          <p:cNvPr id="214020" name="Rectangle 4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altLang="zh-CN" dirty="0" smtClean="0"/>
              <a:t>Jan 09,</a:t>
            </a:r>
            <a:r>
              <a:rPr lang="zh-CN" altLang="en-US" dirty="0" smtClean="0"/>
              <a:t> </a:t>
            </a:r>
            <a:r>
              <a:rPr lang="en-US" altLang="zh-CN" dirty="0"/>
              <a:t>2019</a:t>
            </a:r>
            <a:endParaRPr lang="en-GB" dirty="0"/>
          </a:p>
        </p:txBody>
      </p:sp>
      <p:pic>
        <p:nvPicPr>
          <p:cNvPr id="214026" name="Picture 10" descr="Titel_Illu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08" y="1316831"/>
            <a:ext cx="8390792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4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amount (KWH) of users 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0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AD8BE58E-91D3-4716-92D1-99B629424D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112089"/>
              </p:ext>
            </p:extLst>
          </p:nvPr>
        </p:nvGraphicFramePr>
        <p:xfrm>
          <a:off x="360363" y="1563688"/>
          <a:ext cx="7812087" cy="319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0363" y="1203598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amount </a:t>
            </a:r>
            <a:r>
              <a:rPr lang="en-US" altLang="zh-CN" sz="1200" dirty="0">
                <a:latin typeface="+mn-ea"/>
              </a:rPr>
              <a:t>: </a:t>
            </a:r>
            <a:r>
              <a:rPr lang="en-US" altLang="zh-CN" sz="1200" dirty="0" smtClean="0">
                <a:latin typeface="+mn-ea"/>
              </a:rPr>
              <a:t>total </a:t>
            </a:r>
            <a:r>
              <a:rPr lang="en-US" altLang="zh-CN" sz="1200" dirty="0">
                <a:latin typeface="+mn-ea"/>
              </a:rPr>
              <a:t>charging </a:t>
            </a:r>
            <a:r>
              <a:rPr lang="en-US" altLang="zh-CN" sz="1200" dirty="0" smtClean="0">
                <a:latin typeface="+mn-ea"/>
              </a:rPr>
              <a:t>amount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2320" y="1635646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KWH</a:t>
            </a:r>
          </a:p>
        </p:txBody>
      </p:sp>
    </p:spTree>
    <p:extLst>
      <p:ext uri="{BB962C8B-B14F-4D97-AF65-F5344CB8AC3E}">
        <p14:creationId xmlns:p14="http://schemas.microsoft.com/office/powerpoint/2010/main" val="51832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60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659D377-19CA-45E5-B2F3-646D742BB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station </a:t>
            </a:r>
            <a:r>
              <a:rPr lang="en-US" altLang="zh-CN" dirty="0" smtClean="0"/>
              <a:t>rating </a:t>
            </a:r>
            <a:r>
              <a:rPr lang="en-US" altLang="zh-CN" dirty="0"/>
              <a:t>in Dec.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97F63CB-E5EB-4937-9E4B-C2530D4600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1</a:t>
            </a:fld>
            <a:endParaRPr lang="en-GB" noProof="0" dirty="0"/>
          </a:p>
        </p:txBody>
      </p:sp>
      <p:graphicFrame>
        <p:nvGraphicFramePr>
          <p:cNvPr id="9" name="内容占位符 7">
            <a:extLst>
              <a:ext uri="{FF2B5EF4-FFF2-40B4-BE49-F238E27FC236}">
                <a16:creationId xmlns:a16="http://schemas.microsoft.com/office/drawing/2014/main" id="{C3D82F91-1CF4-4907-A76D-58851540E0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0922110"/>
              </p:ext>
            </p:extLst>
          </p:nvPr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83126" y="1164314"/>
            <a:ext cx="7861282" cy="3993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station </a:t>
            </a:r>
            <a:r>
              <a:rPr lang="en-US" altLang="zh-CN" sz="1200" dirty="0" smtClean="0">
                <a:latin typeface="+mn-ea"/>
              </a:rPr>
              <a:t>rating: the number of charging stations/each rating. e.g. there are 1 charging station was rated with 2 stars. </a:t>
            </a:r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155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42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charging pile </a:t>
            </a:r>
            <a:r>
              <a:rPr lang="en-US" altLang="zh-CN" dirty="0" smtClean="0"/>
              <a:t>rating </a:t>
            </a:r>
            <a:r>
              <a:rPr lang="en-US" altLang="zh-CN" dirty="0"/>
              <a:t>in 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12</a:t>
            </a:fld>
            <a:endParaRPr lang="en-GB" noProof="0" dirty="0"/>
          </a:p>
        </p:txBody>
      </p:sp>
      <p:graphicFrame>
        <p:nvGraphicFramePr>
          <p:cNvPr id="5" name="内容占位符 7">
            <a:extLst>
              <a:ext uri="{FF2B5EF4-FFF2-40B4-BE49-F238E27FC236}">
                <a16:creationId xmlns:a16="http://schemas.microsoft.com/office/drawing/2014/main" id="{BD1F3C41-3D72-49A9-9CD4-FAEC5AEAD7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767312"/>
              </p:ext>
            </p:extLst>
          </p:nvPr>
        </p:nvGraphicFramePr>
        <p:xfrm>
          <a:off x="365401" y="1563688"/>
          <a:ext cx="78070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5400" y="1187054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rating: the number of charging stations/each rating. e.g. there are 1 charging </a:t>
            </a:r>
            <a:r>
              <a:rPr lang="en-US" altLang="zh-CN" sz="1200" dirty="0" smtClean="0">
                <a:latin typeface="+mn-ea"/>
              </a:rPr>
              <a:t>pile </a:t>
            </a:r>
            <a:r>
              <a:rPr lang="en-US" altLang="zh-CN" sz="1200" dirty="0">
                <a:latin typeface="+mn-ea"/>
              </a:rPr>
              <a:t>was rated with 2</a:t>
            </a:r>
            <a:r>
              <a:rPr lang="en-US" altLang="zh-CN" sz="1200" dirty="0" smtClean="0">
                <a:latin typeface="+mn-ea"/>
              </a:rPr>
              <a:t> stars.</a:t>
            </a:r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545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A69A31C-F92C-44B5-84E7-B613CC65FB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125" y="1340357"/>
            <a:ext cx="4135163" cy="344209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User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PV/UV— Page3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Weekly PV/UV— Page4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usage frequency-Page 5</a:t>
            </a:r>
          </a:p>
          <a:p>
            <a:pPr lvl="2" indent="0">
              <a:buNone/>
            </a:pPr>
            <a:endParaRPr lang="en-US" altLang="zh-CN" sz="12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Funnel </a:t>
            </a:r>
            <a:r>
              <a:rPr lang="en-US" altLang="zh-CN" sz="1200" b="1" dirty="0"/>
              <a:t>A</a:t>
            </a:r>
            <a:r>
              <a:rPr lang="en-US" altLang="zh-CN" sz="1200" b="1" dirty="0" smtClean="0"/>
              <a:t>nalysis</a:t>
            </a:r>
            <a:endParaRPr lang="en-US" altLang="zh-CN" sz="1200" b="1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Funnel analysis in Nov. — Page 6 </a:t>
            </a:r>
            <a:endParaRPr lang="en-US" altLang="zh-CN" sz="1200" dirty="0" smtClean="0"/>
          </a:p>
          <a:p>
            <a:pPr lvl="2" indent="0">
              <a:buNone/>
            </a:pPr>
            <a:endParaRPr lang="en-US" altLang="zh-CN" sz="12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altLang="zh-CN" sz="1200" b="1" dirty="0"/>
              <a:t> </a:t>
            </a:r>
            <a:r>
              <a:rPr lang="en-US" altLang="zh-CN" sz="1200" b="1" dirty="0" smtClean="0"/>
              <a:t> Order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Monthly charging orders — Page 7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   </a:t>
            </a:r>
            <a:r>
              <a:rPr lang="en-US" altLang="zh-CN" sz="1200" dirty="0"/>
              <a:t>Weekly  charging orders — Page 8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  Monthly average charging fee — Page 9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/>
              <a:t> Monthly average charging amount — Page </a:t>
            </a:r>
            <a:r>
              <a:rPr lang="en-US" altLang="zh-CN" sz="1200" dirty="0" smtClean="0"/>
              <a:t>10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171450" indent="-171450">
              <a:buFont typeface="Wingdings" panose="05000000000000000000" pitchFamily="2" charset="2"/>
              <a:buChar char="l"/>
            </a:pPr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sz="1200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D06A87-0C58-4F20-9633-E7DBDFBBCD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sz="700" noProof="0" smtClean="0"/>
              <a:t>2</a:t>
            </a:fld>
            <a:endParaRPr lang="en-GB" sz="700" noProof="0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A7B2474-FA40-45EB-9B1A-3EC4D8EF7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674688"/>
            <a:ext cx="8413750" cy="512762"/>
          </a:xfrm>
        </p:spPr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9BB735AD-5A51-4AFD-8483-BD38C2B85F7C}"/>
              </a:ext>
            </a:extLst>
          </p:cNvPr>
          <p:cNvSpPr txBox="1">
            <a:spLocks/>
          </p:cNvSpPr>
          <p:nvPr/>
        </p:nvSpPr>
        <p:spPr bwMode="auto">
          <a:xfrm>
            <a:off x="4500563" y="1361391"/>
            <a:ext cx="4135163" cy="3082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1pPr>
            <a:lvl2pPr marL="1625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2pPr>
            <a:lvl3pPr marL="32448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3pPr>
            <a:lvl4pPr marL="48704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4pPr>
            <a:lvl5pPr marL="6496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 sz="1600" b="0" i="0" kern="1200" baseline="0">
                <a:solidFill>
                  <a:schemeClr val="tx1"/>
                </a:solidFill>
                <a:latin typeface="+mn-lt"/>
                <a:ea typeface="Heiti SC Light"/>
                <a:cs typeface="Heiti SC Light"/>
              </a:defRPr>
            </a:lvl5pPr>
            <a:lvl6pPr marL="103886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428750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181800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207895" indent="-161290" algn="l" defTabSz="817245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altLang="zh-CN" sz="12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200" b="1" dirty="0" smtClean="0"/>
              <a:t>Rating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charging station rating— Page 11</a:t>
            </a:r>
          </a:p>
          <a:p>
            <a:pPr marL="610235" lvl="2" indent="-285750"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Monthly </a:t>
            </a:r>
            <a:r>
              <a:rPr lang="en-US" altLang="zh-CN" sz="1200" dirty="0"/>
              <a:t>charging pile </a:t>
            </a:r>
            <a:r>
              <a:rPr lang="en-US" altLang="zh-CN" sz="1200" dirty="0" smtClean="0"/>
              <a:t>rating</a:t>
            </a:r>
            <a:r>
              <a:rPr lang="en-US" altLang="zh-CN" sz="1200" dirty="0"/>
              <a:t>— Page </a:t>
            </a:r>
            <a:r>
              <a:rPr lang="en-US" altLang="zh-CN" sz="1200" dirty="0" smtClean="0"/>
              <a:t>12</a:t>
            </a:r>
            <a:endParaRPr lang="en-US" altLang="zh-CN" sz="1200" dirty="0"/>
          </a:p>
          <a:p>
            <a:endParaRPr lang="en-US" altLang="zh-CN" sz="1200" dirty="0"/>
          </a:p>
          <a:p>
            <a:pPr lvl="2" indent="0">
              <a:buNone/>
            </a:pPr>
            <a:endParaRPr lang="en-US" altLang="zh-CN" sz="1200" dirty="0"/>
          </a:p>
          <a:p>
            <a:pPr marL="610235" lvl="2" indent="-285750">
              <a:buFont typeface="Arial" panose="020B0604020202020204" pitchFamily="34" charset="0"/>
              <a:buChar char="•"/>
            </a:pPr>
            <a:endParaRPr lang="en-US" altLang="zh-CN" sz="1200" dirty="0"/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zh-CN" sz="1200" dirty="0"/>
          </a:p>
          <a:p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713082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445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PV/UV in Dec.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3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EE57CF3D-DA83-4935-990C-1D51FD5178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4112359"/>
              </p:ext>
            </p:extLst>
          </p:nvPr>
        </p:nvGraphicFramePr>
        <p:xfrm>
          <a:off x="360363" y="1563688"/>
          <a:ext cx="7776864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month</a:t>
            </a:r>
            <a:r>
              <a:rPr lang="en-US" altLang="zh-CN" sz="1200" kern="0" dirty="0" smtClean="0">
                <a:latin typeface="+mn-ea"/>
              </a:rPr>
              <a:t>. UV: number of users using services each month.</a:t>
            </a:r>
            <a:endParaRPr lang="en-US" sz="1200" kern="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1540" y="4261674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PV data.</a:t>
            </a:r>
            <a:endParaRPr lang="en-US" sz="1200" kern="0" dirty="0">
              <a:latin typeface="+mn-ea"/>
            </a:endParaRPr>
          </a:p>
        </p:txBody>
      </p:sp>
      <p:sp>
        <p:nvSpPr>
          <p:cNvPr id="9" name="Rectangle 8"/>
          <p:cNvSpPr/>
          <p:nvPr/>
        </p:nvSpPr>
        <p:spPr bwMode="auto">
          <a:xfrm rot="1487567">
            <a:off x="7166993" y="1511797"/>
            <a:ext cx="1473617" cy="343285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+mn-lt"/>
              </a:rPr>
              <a:t> No data for this month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263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670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699542"/>
            <a:ext cx="8413200" cy="360040"/>
          </a:xfrm>
        </p:spPr>
        <p:txBody>
          <a:bodyPr/>
          <a:lstStyle/>
          <a:p>
            <a:r>
              <a:rPr lang="en-US" altLang="zh-CN" dirty="0"/>
              <a:t>Weekly </a:t>
            </a:r>
            <a:r>
              <a:rPr lang="en-US" altLang="zh-CN" dirty="0" smtClean="0"/>
              <a:t>PV/UV 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4</a:t>
            </a:fld>
            <a:endParaRPr lang="en-GB" noProof="0" dirty="0"/>
          </a:p>
        </p:txBody>
      </p:sp>
      <p:graphicFrame>
        <p:nvGraphicFramePr>
          <p:cNvPr id="7" name="内容占位符 6">
            <a:extLst>
              <a:ext uri="{FF2B5EF4-FFF2-40B4-BE49-F238E27FC236}">
                <a16:creationId xmlns:a16="http://schemas.microsoft.com/office/drawing/2014/main" id="{9CD433FA-D4EA-4F97-8E43-CD2D6E4552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5279043"/>
              </p:ext>
            </p:extLst>
          </p:nvPr>
        </p:nvGraphicFramePr>
        <p:xfrm>
          <a:off x="382489" y="1563688"/>
          <a:ext cx="7783257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208800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 smtClean="0">
                <a:latin typeface="+mn-ea"/>
              </a:rPr>
              <a:t>PV*: number of API calls each week</a:t>
            </a:r>
            <a:r>
              <a:rPr lang="en-US" altLang="zh-CN" sz="1200" kern="0" dirty="0" smtClean="0">
                <a:latin typeface="+mn-ea"/>
              </a:rPr>
              <a:t>. UV: number of users using services each week.</a:t>
            </a:r>
            <a:endParaRPr lang="en-US" sz="1200" kern="0" dirty="0">
              <a:latin typeface="+mn-ea"/>
            </a:endParaRPr>
          </a:p>
        </p:txBody>
      </p:sp>
      <p:sp>
        <p:nvSpPr>
          <p:cNvPr id="9" name="Rectangle 8"/>
          <p:cNvSpPr/>
          <p:nvPr/>
        </p:nvSpPr>
        <p:spPr bwMode="auto">
          <a:xfrm rot="1487567">
            <a:off x="7166993" y="1511797"/>
            <a:ext cx="1473617" cy="343285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+mn-lt"/>
              </a:rPr>
              <a:t> No data for this month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805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5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</a:t>
            </a:r>
            <a:r>
              <a:rPr lang="en-US" altLang="zh-CN" dirty="0" smtClean="0"/>
              <a:t>usage frequency in Nov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5</a:t>
            </a:fld>
            <a:endParaRPr lang="en-GB" noProof="0" dirty="0"/>
          </a:p>
        </p:txBody>
      </p:sp>
      <p:graphicFrame>
        <p:nvGraphicFramePr>
          <p:cNvPr id="8" name="内容占位符 6">
            <a:extLst>
              <a:ext uri="{FF2B5EF4-FFF2-40B4-BE49-F238E27FC236}">
                <a16:creationId xmlns:a16="http://schemas.microsoft.com/office/drawing/2014/main" id="{DFF4497A-BB7A-4B2D-B048-0943343680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4459760"/>
              </p:ext>
            </p:extLst>
          </p:nvPr>
        </p:nvGraphicFramePr>
        <p:xfrm>
          <a:off x="371441" y="1547094"/>
          <a:ext cx="7776864" cy="305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5536" y="1187054"/>
            <a:ext cx="8352928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usage </a:t>
            </a:r>
            <a:r>
              <a:rPr lang="en-US" altLang="zh-CN" sz="1200" dirty="0" smtClean="0">
                <a:latin typeface="+mn-ea"/>
              </a:rPr>
              <a:t>frequency: times of API calls/user/month (Any API call can be counted as once) </a:t>
            </a:r>
            <a:endParaRPr lang="zh-CN" altLang="en-US" sz="1200" dirty="0"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5536" y="4752041"/>
            <a:ext cx="82809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1200" dirty="0">
                <a:latin typeface="+mn-ea"/>
              </a:rPr>
              <a:t>*</a:t>
            </a:r>
            <a:r>
              <a:rPr lang="en-US" altLang="zh-CN" sz="1200" dirty="0" smtClean="0">
                <a:latin typeface="+mn-ea"/>
              </a:rPr>
              <a:t> Since the front end pages are not developed by MA, so the data of API calls was considered as usage data.</a:t>
            </a:r>
            <a:endParaRPr lang="en-US" sz="1200" kern="0" dirty="0">
              <a:latin typeface="+mn-ea"/>
            </a:endParaRPr>
          </a:p>
        </p:txBody>
      </p:sp>
      <p:sp>
        <p:nvSpPr>
          <p:cNvPr id="10" name="Rectangle 9"/>
          <p:cNvSpPr/>
          <p:nvPr/>
        </p:nvSpPr>
        <p:spPr bwMode="auto">
          <a:xfrm rot="1487567">
            <a:off x="7166993" y="1511797"/>
            <a:ext cx="1473617" cy="343285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+mn-lt"/>
              </a:rPr>
              <a:t> No data for this month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539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46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t" anchorCtr="0" compatLnSpc="1"/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unnel </a:t>
            </a:r>
            <a:r>
              <a:rPr lang="en-US" altLang="zh-CN" dirty="0" smtClean="0"/>
              <a:t>analysis 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6</a:t>
            </a:fld>
            <a:endParaRPr lang="en-GB" noProof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043608" y="1265279"/>
            <a:ext cx="2592290" cy="969725"/>
            <a:chOff x="0" y="-175258"/>
            <a:chExt cx="1944216" cy="1121292"/>
          </a:xfrm>
          <a:solidFill>
            <a:schemeClr val="accent6">
              <a:lumMod val="75000"/>
            </a:schemeClr>
          </a:solidFill>
        </p:grpSpPr>
        <p:sp>
          <p:nvSpPr>
            <p:cNvPr id="7" name="梯形 6"/>
            <p:cNvSpPr/>
            <p:nvPr/>
          </p:nvSpPr>
          <p:spPr>
            <a:xfrm rot="10800000">
              <a:off x="0" y="-175258"/>
              <a:ext cx="1944216" cy="1121291"/>
            </a:xfrm>
            <a:prstGeom prst="trapezoid">
              <a:avLst>
                <a:gd name="adj" fmla="val 28546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梯形 4"/>
            <p:cNvSpPr/>
            <p:nvPr/>
          </p:nvSpPr>
          <p:spPr>
            <a:xfrm>
              <a:off x="345455" y="-175257"/>
              <a:ext cx="1263740" cy="112129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dirty="0">
                  <a:solidFill>
                    <a:schemeClr val="accent6">
                      <a:lumMod val="50000"/>
                    </a:schemeClr>
                  </a:solidFill>
                </a:rPr>
                <a:t>Search</a:t>
              </a:r>
            </a:p>
          </p:txBody>
        </p:sp>
      </p:grpSp>
      <p:sp>
        <p:nvSpPr>
          <p:cNvPr id="10" name="梯形 9"/>
          <p:cNvSpPr/>
          <p:nvPr/>
        </p:nvSpPr>
        <p:spPr>
          <a:xfrm rot="10800000">
            <a:off x="1331641" y="2235004"/>
            <a:ext cx="2026126" cy="823317"/>
          </a:xfrm>
          <a:prstGeom prst="trapezoid">
            <a:avLst>
              <a:gd name="adj" fmla="val 28546"/>
            </a:avLst>
          </a:prstGeom>
          <a:solidFill>
            <a:schemeClr val="accent6">
              <a:lumMod val="75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2000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2000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1742658" y="3788593"/>
            <a:ext cx="1159138" cy="1326481"/>
            <a:chOff x="734649" y="1828294"/>
            <a:chExt cx="650704" cy="1138454"/>
          </a:xfrm>
        </p:grpSpPr>
        <p:sp>
          <p:nvSpPr>
            <p:cNvPr id="13" name="梯形 12"/>
            <p:cNvSpPr/>
            <p:nvPr/>
          </p:nvSpPr>
          <p:spPr>
            <a:xfrm rot="10800000">
              <a:off x="745181" y="1845457"/>
              <a:ext cx="640172" cy="1121291"/>
            </a:xfrm>
            <a:prstGeom prst="trapezoid">
              <a:avLst>
                <a:gd name="adj" fmla="val 5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6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4" name="梯形 4"/>
            <p:cNvSpPr/>
            <p:nvPr/>
          </p:nvSpPr>
          <p:spPr>
            <a:xfrm>
              <a:off x="734649" y="1828294"/>
              <a:ext cx="640172" cy="10768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dirty="0">
                  <a:solidFill>
                    <a:schemeClr val="accent6">
                      <a:lumMod val="50000"/>
                    </a:schemeClr>
                  </a:solidFill>
                </a:rPr>
                <a:t>Payment</a:t>
              </a:r>
              <a:endParaRPr lang="en-US" sz="1800" kern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11961" y="2090988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 smtClean="0">
                <a:latin typeface="+mn-lt"/>
              </a:rPr>
              <a:t>7</a:t>
            </a:r>
            <a:r>
              <a:rPr lang="en-US" altLang="zh-CN" sz="1800" dirty="0" smtClean="0">
                <a:latin typeface="+mn-lt"/>
              </a:rPr>
              <a:t>%</a:t>
            </a:r>
            <a:endParaRPr lang="en-US" sz="1800" dirty="0">
              <a:latin typeface="+mn-lt"/>
            </a:endParaRPr>
          </a:p>
        </p:txBody>
      </p:sp>
      <p:sp>
        <p:nvSpPr>
          <p:cNvPr id="17" name="右箭头 16"/>
          <p:cNvSpPr/>
          <p:nvPr/>
        </p:nvSpPr>
        <p:spPr bwMode="auto">
          <a:xfrm>
            <a:off x="3347865" y="2162996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右箭头 18"/>
          <p:cNvSpPr/>
          <p:nvPr/>
        </p:nvSpPr>
        <p:spPr bwMode="auto">
          <a:xfrm>
            <a:off x="3131841" y="2955084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梯形 19"/>
          <p:cNvSpPr/>
          <p:nvPr/>
        </p:nvSpPr>
        <p:spPr>
          <a:xfrm rot="10800000">
            <a:off x="1547664" y="3058316"/>
            <a:ext cx="1584176" cy="756471"/>
          </a:xfrm>
          <a:prstGeom prst="trapezoid">
            <a:avLst>
              <a:gd name="adj" fmla="val 28546"/>
            </a:avLst>
          </a:prstGeom>
          <a:solidFill>
            <a:schemeClr val="accent6">
              <a:lumMod val="60000"/>
              <a:lumOff val="40000"/>
              <a:alpha val="7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hueOff val="0"/>
              <a:satOff val="0"/>
              <a:lumOff val="0"/>
              <a:alphaOff val="-20000"/>
            </a:schemeClr>
          </a:fillRef>
          <a:effectRef idx="0">
            <a:schemeClr val="accent6">
              <a:alpha val="90000"/>
              <a:hueOff val="0"/>
              <a:satOff val="0"/>
              <a:lumOff val="0"/>
              <a:alphaOff val="-2000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梯形 4"/>
          <p:cNvSpPr/>
          <p:nvPr/>
        </p:nvSpPr>
        <p:spPr>
          <a:xfrm>
            <a:off x="1645792" y="2278715"/>
            <a:ext cx="1256004" cy="82331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Scan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梯形 4"/>
          <p:cNvSpPr/>
          <p:nvPr/>
        </p:nvSpPr>
        <p:spPr>
          <a:xfrm>
            <a:off x="1645792" y="3062708"/>
            <a:ext cx="1256004" cy="7339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25400" rIns="25400" bIns="254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Charging</a:t>
            </a:r>
            <a:endParaRPr lang="en-US" sz="1800" kern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右箭头 22"/>
          <p:cNvSpPr/>
          <p:nvPr/>
        </p:nvSpPr>
        <p:spPr bwMode="auto">
          <a:xfrm>
            <a:off x="2915817" y="3747172"/>
            <a:ext cx="792088" cy="20060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t" anchorCtr="0" compatLnSpc="1"/>
          <a:lstStyle/>
          <a:p>
            <a:pPr marL="0" marR="0" indent="0" algn="l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23729" y="165894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67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195737" y="259504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195737" y="338713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3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95737" y="4179220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dirty="0">
                <a:latin typeface="+mn-lt"/>
              </a:rPr>
              <a:t>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067945" y="2955084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0%</a:t>
            </a:r>
            <a:endParaRPr lang="en-US" sz="1800" dirty="0"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586022" y="2147579"/>
            <a:ext cx="4032448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scan/Number of search for charging </a:t>
            </a:r>
            <a:r>
              <a:rPr lang="en-US" altLang="zh-CN" sz="1200" dirty="0" smtClean="0">
                <a:latin typeface="+mn-ea"/>
              </a:rPr>
              <a:t>statio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79913" y="3747172"/>
            <a:ext cx="504056" cy="3505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800" dirty="0" smtClean="0">
                <a:latin typeface="+mn-lt"/>
              </a:rPr>
              <a:t>67%</a:t>
            </a:r>
            <a:endParaRPr lang="en-US" sz="1800" dirty="0"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72001" y="2739060"/>
            <a:ext cx="3096344" cy="7920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charging/Number of </a:t>
            </a:r>
            <a:r>
              <a:rPr lang="en-US" altLang="zh-CN" sz="1200" dirty="0" smtClean="0">
                <a:latin typeface="+mn-ea"/>
              </a:rPr>
              <a:t>scan</a:t>
            </a:r>
            <a:endParaRPr lang="en-US" altLang="zh-CN" sz="1200" dirty="0"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427985" y="3531148"/>
            <a:ext cx="3096344" cy="28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altLang="zh-CN" sz="1200" dirty="0" smtClean="0">
              <a:latin typeface="+mn-ea"/>
            </a:endParaRPr>
          </a:p>
          <a:p>
            <a:r>
              <a:rPr lang="en-US" altLang="zh-CN" sz="1200" dirty="0" smtClean="0">
                <a:latin typeface="+mn-ea"/>
              </a:rPr>
              <a:t>Number </a:t>
            </a:r>
            <a:r>
              <a:rPr lang="en-US" altLang="zh-CN" sz="1200" dirty="0">
                <a:latin typeface="+mn-ea"/>
              </a:rPr>
              <a:t>of payment/Number of </a:t>
            </a:r>
            <a:r>
              <a:rPr lang="en-US" altLang="zh-CN" sz="1200" dirty="0" smtClean="0">
                <a:latin typeface="+mn-ea"/>
              </a:rPr>
              <a:t>charging</a:t>
            </a:r>
            <a:endParaRPr lang="zh-CN" altLang="en-US" sz="1200" dirty="0">
              <a:latin typeface="+mn-ea"/>
            </a:endParaRPr>
          </a:p>
        </p:txBody>
      </p:sp>
      <p:sp>
        <p:nvSpPr>
          <p:cNvPr id="29" name="Rectangle 28"/>
          <p:cNvSpPr/>
          <p:nvPr/>
        </p:nvSpPr>
        <p:spPr bwMode="auto">
          <a:xfrm rot="1487567">
            <a:off x="7166993" y="1511797"/>
            <a:ext cx="1473617" cy="343285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67500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+mn-lt"/>
              </a:rPr>
              <a:t> No data for this month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93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22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thly charging orders 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7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1B6CB6E9-4DCD-464D-B56E-4E56C7F487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1316503"/>
              </p:ext>
            </p:extLst>
          </p:nvPr>
        </p:nvGraphicFramePr>
        <p:xfrm>
          <a:off x="365125" y="1563687"/>
          <a:ext cx="7807325" cy="3197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65125" y="1233250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 smtClean="0"/>
              <a:t>Order: number </a:t>
            </a:r>
            <a:r>
              <a:rPr lang="en-US" altLang="zh-CN" sz="1200" dirty="0"/>
              <a:t>of </a:t>
            </a:r>
            <a:r>
              <a:rPr lang="en-US" altLang="zh-CN" sz="1200" dirty="0" smtClean="0"/>
              <a:t>charging orders/</a:t>
            </a:r>
            <a:r>
              <a:rPr lang="en-US" altLang="zh-CN" sz="1200" dirty="0" smtClean="0">
                <a:latin typeface="+mn-ea"/>
              </a:rPr>
              <a:t>CPO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0917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44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363" y="700088"/>
            <a:ext cx="8413200" cy="513160"/>
          </a:xfrm>
        </p:spPr>
        <p:txBody>
          <a:bodyPr/>
          <a:lstStyle/>
          <a:p>
            <a:r>
              <a:rPr lang="en-US" altLang="zh-CN" dirty="0" smtClean="0"/>
              <a:t>Weekly charging orders  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8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DC0A3031-C968-4255-B25F-B8D285AE59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1946403"/>
              </p:ext>
            </p:extLst>
          </p:nvPr>
        </p:nvGraphicFramePr>
        <p:xfrm>
          <a:off x="365400" y="1554886"/>
          <a:ext cx="7992888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5400" y="1222779"/>
            <a:ext cx="8208912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Weekly </a:t>
            </a:r>
            <a:r>
              <a:rPr lang="en-US" altLang="zh-CN" sz="1200" dirty="0" smtClean="0">
                <a:latin typeface="+mn-ea"/>
              </a:rPr>
              <a:t>charging orders/CPO.</a:t>
            </a:r>
            <a:endParaRPr lang="en-US" altLang="zh-CN" sz="1200" dirty="0">
              <a:latin typeface="+mn-ea"/>
            </a:endParaRPr>
          </a:p>
          <a:p>
            <a:endParaRPr lang="zh-CN" altLang="en-US" sz="1800" dirty="0" smtClean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96336" y="843558"/>
            <a:ext cx="761952" cy="379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321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7293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spcCol="0" rtlCol="0" anchor="t" anchorCtr="0" compatLnSpc="1">
            <a:noAutofit/>
          </a:bodyPr>
          <a:lstStyle/>
          <a:p>
            <a:pPr defTabSz="675005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verage charging </a:t>
            </a:r>
            <a:r>
              <a:rPr lang="en-US" altLang="zh-CN" dirty="0" smtClean="0"/>
              <a:t>fee of </a:t>
            </a:r>
            <a:r>
              <a:rPr lang="en-US" altLang="zh-CN" dirty="0"/>
              <a:t>users </a:t>
            </a:r>
            <a:r>
              <a:rPr lang="en-US" altLang="zh-CN" dirty="0" smtClean="0"/>
              <a:t>in </a:t>
            </a:r>
            <a:r>
              <a:rPr lang="en-US" altLang="zh-CN" dirty="0"/>
              <a:t>De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F5D4C-9F6E-4E1F-A3C5-05B84EDEF6B8}" type="slidenum">
              <a:rPr lang="en-GB" noProof="0" smtClean="0"/>
              <a:pPr/>
              <a:t>9</a:t>
            </a:fld>
            <a:endParaRPr lang="en-GB" noProof="0" dirty="0"/>
          </a:p>
        </p:txBody>
      </p:sp>
      <p:graphicFrame>
        <p:nvGraphicFramePr>
          <p:cNvPr id="5" name="内容占位符 6">
            <a:extLst>
              <a:ext uri="{FF2B5EF4-FFF2-40B4-BE49-F238E27FC236}">
                <a16:creationId xmlns:a16="http://schemas.microsoft.com/office/drawing/2014/main" id="{C36C0A31-6165-4479-99E6-CC0A534EA0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5944195"/>
              </p:ext>
            </p:extLst>
          </p:nvPr>
        </p:nvGraphicFramePr>
        <p:xfrm>
          <a:off x="381908" y="1563688"/>
          <a:ext cx="8413750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4">
            <a:extLst>
              <a:ext uri="{FF2B5EF4-FFF2-40B4-BE49-F238E27FC236}">
                <a16:creationId xmlns:a16="http://schemas.microsoft.com/office/drawing/2014/main" id="{46E0A714-FC28-4736-A45D-8E1E8D96892C}"/>
              </a:ext>
            </a:extLst>
          </p:cNvPr>
          <p:cNvSpPr txBox="1"/>
          <p:nvPr/>
        </p:nvSpPr>
        <p:spPr>
          <a:xfrm>
            <a:off x="374550" y="1195351"/>
            <a:ext cx="8280920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altLang="zh-CN" sz="1200" dirty="0">
                <a:latin typeface="+mn-ea"/>
              </a:rPr>
              <a:t>Monthly average charging </a:t>
            </a:r>
            <a:r>
              <a:rPr lang="en-US" altLang="zh-CN" sz="1200" dirty="0" smtClean="0">
                <a:latin typeface="+mn-ea"/>
              </a:rPr>
              <a:t>fee: </a:t>
            </a:r>
            <a:r>
              <a:rPr lang="en-US" altLang="zh-CN" sz="1200" dirty="0">
                <a:latin typeface="+mn-ea"/>
              </a:rPr>
              <a:t>t</a:t>
            </a:r>
            <a:r>
              <a:rPr lang="en-US" altLang="zh-CN" sz="1200" dirty="0" smtClean="0">
                <a:latin typeface="+mn-ea"/>
              </a:rPr>
              <a:t>otal charging fee/number </a:t>
            </a:r>
            <a:r>
              <a:rPr lang="en-US" altLang="zh-CN" sz="1200" dirty="0">
                <a:latin typeface="+mn-ea"/>
              </a:rPr>
              <a:t>of users completed charging per month.</a:t>
            </a:r>
            <a:endParaRPr lang="zh-CN" altLang="en-US" sz="1800" dirty="0">
              <a:latin typeface="+mn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07112" y="1643993"/>
            <a:ext cx="914400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000" dirty="0" smtClean="0">
                <a:latin typeface="+mn-lt"/>
              </a:rPr>
              <a:t>Unit: RMB</a:t>
            </a:r>
          </a:p>
        </p:txBody>
      </p:sp>
    </p:spTree>
    <p:extLst>
      <p:ext uri="{BB962C8B-B14F-4D97-AF65-F5344CB8AC3E}">
        <p14:creationId xmlns:p14="http://schemas.microsoft.com/office/powerpoint/2010/main" val="327938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e3.fNaR2qZTUd8moEu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rrOUrTTFSWUlwEB3oZ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8ovMDT4OXAGWTFxgT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A5AtbR5W0xlj9YRbQ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0xc9z7TvSQDpb5jE7a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CsjBWjSPCeL5AEcffW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JvvnbQgGdx_3avekD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qd.TwsR_KEyP079SrB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KIUVPTb.wc1FrVAU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6xr7rdRfOoD67e1aTQew"/>
</p:tagLst>
</file>

<file path=ppt/theme/theme1.xml><?xml version="1.0" encoding="utf-8"?>
<a:theme xmlns:a="http://schemas.openxmlformats.org/drawingml/2006/main" name="Mobility Asia_Presentation_16_9_rev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0" tIns="0" rIns="0" bIns="0" numCol="1" anchor="t" anchorCtr="0" compatLnSpc="1"/>
      <a:lstStyle>
        <a:defPPr marL="0" marR="0" indent="0" algn="l" defTabSz="675005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or_PPT_Document</Template>
  <TotalTime>0</TotalTime>
  <Words>456</Words>
  <Application>Microsoft Office PowerPoint</Application>
  <PresentationFormat>On-screen Show (16:9)</PresentationFormat>
  <Paragraphs>113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Heiti SC Medium</vt:lpstr>
      <vt:lpstr>Heiti SC Light</vt:lpstr>
      <vt:lpstr>Arial</vt:lpstr>
      <vt:lpstr>VWAG TheSans</vt:lpstr>
      <vt:lpstr>Wingdings</vt:lpstr>
      <vt:lpstr>Mobility Asia_Presentation_16_9_rev</vt:lpstr>
      <vt:lpstr>think-cell Slide</vt:lpstr>
      <vt:lpstr>The Monthly Report of FBU Charging SOP2</vt:lpstr>
      <vt:lpstr>Content</vt:lpstr>
      <vt:lpstr>Monthly PV/UV in Dec.</vt:lpstr>
      <vt:lpstr>Weekly PV/UV in Dec.</vt:lpstr>
      <vt:lpstr>Monthly usage frequency in Nov.</vt:lpstr>
      <vt:lpstr>Funnel analysis in Dec.</vt:lpstr>
      <vt:lpstr>Monthly charging orders in Dec.</vt:lpstr>
      <vt:lpstr>Weekly charging orders  in Dec.</vt:lpstr>
      <vt:lpstr>Monthly average charging fee of users in Dec.</vt:lpstr>
      <vt:lpstr>Monthly average charging amount (KWH) of users in Dec.</vt:lpstr>
      <vt:lpstr>Monthly charging station rating in Dec.</vt:lpstr>
      <vt:lpstr>Monthly charging pile rating in Dec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es</dc:title>
  <dc:creator>Administrator</dc:creator>
  <cp:lastModifiedBy>Cheng, Junge</cp:lastModifiedBy>
  <cp:revision>397</cp:revision>
  <dcterms:created xsi:type="dcterms:W3CDTF">2019-05-16T02:17:00Z</dcterms:created>
  <dcterms:modified xsi:type="dcterms:W3CDTF">2020-01-10T10:0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